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69" r:id="rId3"/>
    <p:sldId id="258" r:id="rId4"/>
    <p:sldId id="270" r:id="rId5"/>
    <p:sldId id="294" r:id="rId6"/>
    <p:sldId id="295" r:id="rId7"/>
    <p:sldId id="283" r:id="rId8"/>
    <p:sldId id="285" r:id="rId9"/>
    <p:sldId id="284" r:id="rId10"/>
    <p:sldId id="307" r:id="rId11"/>
    <p:sldId id="287" r:id="rId12"/>
    <p:sldId id="302" r:id="rId13"/>
    <p:sldId id="306" r:id="rId14"/>
    <p:sldId id="303" r:id="rId15"/>
    <p:sldId id="261" r:id="rId16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6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2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8/2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x2PFTcddgP/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aste.ubuntu.com/p/6kGHYVsg6H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9TPYQhtBjV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8.14-8.20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8/20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BC3742-A341-43BB-AD50-80D8C4497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49513A6-52C7-4AB8-96B5-51F15C73D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74424E7-90BA-45C5-AC42-573A87218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5C568F1-3EAA-4933-B18E-1BAB96796542}"/>
              </a:ext>
            </a:extLst>
          </p:cNvPr>
          <p:cNvSpPr txBox="1"/>
          <p:nvPr/>
        </p:nvSpPr>
        <p:spPr>
          <a:xfrm>
            <a:off x="669924" y="1755105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55791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KM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练习题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0334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6F712AF-9ED2-4382-9C86-554447B54D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823" y="1524401"/>
            <a:ext cx="7800776" cy="397087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010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4119AB-6956-4C30-A192-CF6F18700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K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AFC08FC-0CFA-4B82-8BB1-50D1AFE39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482ADE-7308-4DB9-A5C9-508E35CA7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CE80833-CA10-4D4E-AABE-1FCC9303FE9D}"/>
              </a:ext>
            </a:extLst>
          </p:cNvPr>
          <p:cNvSpPr txBox="1"/>
          <p:nvPr/>
        </p:nvSpPr>
        <p:spPr>
          <a:xfrm>
            <a:off x="648993" y="1138200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2"/>
              </a:rPr>
              <a:t>板子：</a:t>
            </a:r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0CABC1B-A4E1-442E-A299-BD35D181E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077" y="1560804"/>
            <a:ext cx="7864522" cy="716342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ED45C07D-8351-4F6B-8727-DFB852C5C6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641" y="2330418"/>
            <a:ext cx="9510584" cy="45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6981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5E4EEC-376E-4BE7-911B-85C31582D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下周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6F920BB-756B-489E-99D2-DE0E790DC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B90F2C-33A7-41CC-AC64-6F3CDEB47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21D99F8-8A0B-417B-B221-59E143453ECC}"/>
              </a:ext>
            </a:extLst>
          </p:cNvPr>
          <p:cNvSpPr txBox="1"/>
          <p:nvPr/>
        </p:nvSpPr>
        <p:spPr>
          <a:xfrm>
            <a:off x="834501" y="1615736"/>
            <a:ext cx="649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巩固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3524182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8/20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9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0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KM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9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两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F1176F6-710C-4D4D-94AE-ABEC5947765A}"/>
              </a:ext>
            </a:extLst>
          </p:cNvPr>
          <p:cNvSpPr txBox="1"/>
          <p:nvPr/>
        </p:nvSpPr>
        <p:spPr>
          <a:xfrm>
            <a:off x="10369118" y="2112885"/>
            <a:ext cx="115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补了</a:t>
            </a:r>
            <a:r>
              <a:rPr lang="en-US" altLang="zh-CN" dirty="0"/>
              <a:t>H,I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3C1D6A1-66BF-49BD-8A11-42CB25D01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546782"/>
            <a:ext cx="8211845" cy="41755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H.Happy</a:t>
            </a:r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 Number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17EE70B-2DAF-4365-95B3-82D1207758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640187"/>
            <a:ext cx="9434378" cy="253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E01F3-3183-4F9F-A812-C6642ADC9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753CC3-ECF1-490E-9CA3-E1230FC5A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D40503-B14C-482D-8F1B-AE69FF50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1F65507-C6C2-48C3-9738-FD2340FBAC32}"/>
              </a:ext>
            </a:extLst>
          </p:cNvPr>
          <p:cNvSpPr txBox="1"/>
          <p:nvPr/>
        </p:nvSpPr>
        <p:spPr>
          <a:xfrm>
            <a:off x="669924" y="1799492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79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10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en-US" altLang="zh-CN" dirty="0"/>
              <a:t>2</a:t>
            </a:r>
            <a:r>
              <a:rPr lang="zh-CN" altLang="en-US" dirty="0"/>
              <a:t>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2606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H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F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1C54B70-1006-4870-9065-2AEC193990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222" y="1627614"/>
            <a:ext cx="8587806" cy="42761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F.Train</a:t>
            </a:r>
            <a:r>
              <a:rPr lang="en-US" altLang="zh-CN" b="1" i="0" dirty="0">
                <a:solidFill>
                  <a:srgbClr val="4F4F4F"/>
                </a:solidFill>
                <a:effectLst/>
                <a:latin typeface="PingFang SC"/>
              </a:rPr>
              <a:t> Wreck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385884D-4C85-48AD-B5DB-F789E3E1FC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500503"/>
            <a:ext cx="9251482" cy="2773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</TotalTime>
  <Words>137</Words>
  <Application>Microsoft Office PowerPoint</Application>
  <PresentationFormat>宽屏</PresentationFormat>
  <Paragraphs>57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1" baseType="lpstr">
      <vt:lpstr>PingFang SC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牛客9</vt:lpstr>
      <vt:lpstr>一篇博客</vt:lpstr>
      <vt:lpstr>H.Happy Number</vt:lpstr>
      <vt:lpstr>代码</vt:lpstr>
      <vt:lpstr>牛客10</vt:lpstr>
      <vt:lpstr>一篇博客</vt:lpstr>
      <vt:lpstr>F.Train Wreck</vt:lpstr>
      <vt:lpstr>代码</vt:lpstr>
      <vt:lpstr>KM</vt:lpstr>
      <vt:lpstr>一篇博客</vt:lpstr>
      <vt:lpstr>KM</vt:lpstr>
      <vt:lpstr>下周计划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18</cp:revision>
  <cp:lastPrinted>2018-08-20T16:00:00Z</cp:lastPrinted>
  <dcterms:created xsi:type="dcterms:W3CDTF">2018-08-20T16:00:00Z</dcterms:created>
  <dcterms:modified xsi:type="dcterms:W3CDTF">2021-08-19T19:0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